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drawings/vmlDrawing1.vml" ContentType="application/vnd.openxmlformats-officedocument.vmlDrawing"/>
  <Override PartName="/ppt/embeddings/oleObject1.bin" ContentType="application/vnd.openxmlformats-officedocument.oleObject"/>
  <Override PartName="/ppt/metadata" ContentType="application/binary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4"/>
  </p:sldMasterIdLst>
  <p:notesMasterIdLst>
    <p:notesMasterId r:id="rId7"/>
  </p:notesMasterIdLst>
  <p:sldIdLst>
    <p:sldId id="256" r:id="rId13"/>
    <p:sldId id="257" r:id="rId14"/>
    <p:sldId id="258" r:id="rId15"/>
    <p:sldId id="259" r:id="rId16"/>
    <p:sldId id="260" r:id="rId17"/>
    <p:sldId id="261" r:id="rId18"/>
    <p:sldId id="262" r:id="rId19"/>
    <p:sldId id="263" r:id="rId20"/>
    <p:sldId id="264" r:id="rId21"/>
    <p:sldId id="265" r:id="rId22"/>
    <p:sldId id="266" r:id="rId23"/>
    <p:sldId id="267" r:id="rId24"/>
  </p:sldIdLst>
  <p:sldSz cx="12192000" cy="6858000"/>
  <p:notesSz cx="6858000" cy="9144000"/>
  <p:custDataLst>
    <p:tags r:id="rId8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pos="648">
          <p15:clr>
            <a:srgbClr val="9AA0A6"/>
          </p15:clr>
        </p15:guide>
        <p15:guide id="2" orient="horz" pos="2160">
          <p15:clr>
            <a:srgbClr val="A4A3A4"/>
          </p15:clr>
        </p15:guide>
      </p15:sldGuideLst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39" roundtripDataSignature="AMtx7mhu8n7NYh91WQ1dG2QZIgJrhs4qig==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iang Yue IT-Center-270529" initials="" lastIdx="10" clrIdx="0"/>
  <p:cmAuthor id="1" name="Andrew Tan" initials="" lastIdx="2" clrIdx="1"/>
  <p:cmAuthor id="2" name="Samuel Lum Xin De" initials="" lastIdx="4" clrIdx="2"/>
  <p:cmAuthor id="3" name="Jiang Yue IT-Center-270529" initials="JYIC2" lastIdx="20" clrIdx="3">
    <p:extLst>
      <p:ext uri="{19B8F6BF-5375-455C-9EA6-DF929625EA0E}">
        <p15:presenceInfo xmlns:p15="http://schemas.microsoft.com/office/powerpoint/2012/main" userId="S::jiangyue@shopee.com::7d7a5278-f011-4b0c-986e-4b069b8ee524" providerId="AD"/>
      </p:ext>
    </p:extLst>
  </p:cmAuthor>
  <p:cmAuthor id="4" name="Dion Tan Jin Yan" initials="DTJY" lastIdx="4" clrIdx="4">
    <p:extLst>
      <p:ext uri="{19B8F6BF-5375-455C-9EA6-DF929625EA0E}">
        <p15:presenceInfo xmlns:p15="http://schemas.microsoft.com/office/powerpoint/2012/main" userId="S::dion.tanjy@shopee.com::5f297b04-02f4-4804-8029-8fee13c566a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5372EF3-296E-4A2D-9282-C41AEDB95526}">
  <a:tblStyle styleId="{85372EF3-296E-4A2D-9282-C41AEDB95526}" styleName="Table_0"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 b="off" i="off"/>
      <a:tcStyle>
        <a:tcBdr/>
      </a:tcStyle>
    </a:band1H>
    <a:band2H>
      <a:tcTxStyle b="off" i="off"/>
      <a:tcStyle>
        <a:tcBdr/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ff"/>
      <a:tcStyle>
        <a:tcBdr/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ff" i="off"/>
      <a:tcStyle>
        <a:tcBdr/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8E2EE499-FE37-4DED-A751-AE3D3B857B06}" styleName="Table_1"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 b="off" i="off"/>
      <a:tcStyle>
        <a:tcBdr/>
      </a:tcStyle>
    </a:band1H>
    <a:band2H>
      <a:tcTxStyle b="off" i="off"/>
      <a:tcStyle>
        <a:tcBdr/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ff"/>
      <a:tcStyle>
        <a:tcBdr/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ff" i="off"/>
      <a:tcStyle>
        <a:tcBdr/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46587F20-FEAD-4F2E-AE4F-95DBFF5E0846}" styleName="Table_2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C834AE1A-DF2F-425D-BEFB-E3E589799F17}" styleName="Table_3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127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 b="off" i="off"/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TxStyle b="off" i="off"/>
      <a:tcStyle>
        <a:tcBdr/>
      </a:tcStyle>
    </a:band2H>
    <a:band1V>
      <a:tcTxStyle b="off" i="off"/>
      <a:tcStyle>
        <a:tcBdr/>
        <a:fill>
          <a:solidFill>
            <a:schemeClr val="accent2">
              <a:alpha val="20000"/>
            </a:schemeClr>
          </a:solidFill>
        </a:fill>
      </a:tcStyle>
    </a:band1V>
    <a:band2V>
      <a:tcTxStyle b="off" i="off"/>
      <a:tcStyle>
        <a:tcBdr/>
      </a:tcStyle>
    </a:band2V>
    <a:lastCol>
      <a:tcTxStyle b="on" i="off"/>
      <a:tcStyle>
        <a:tcBdr/>
      </a:tcStyle>
    </a:lastCol>
    <a:firstCol>
      <a:tcTxStyle b="on" i="off"/>
      <a:tcStyle>
        <a:tcBdr/>
      </a:tcStyle>
    </a:firstCol>
    <a:lastRow>
      <a:tcTxStyle b="on" i="off"/>
      <a:tcStyle>
        <a:tcBdr>
          <a:top>
            <a:ln w="508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rgbClr val="FFFFFF">
              <a:alpha val="0"/>
            </a:srgbClr>
          </a:solidFill>
        </a:fill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n" i="off"/>
      <a:tcStyle>
        <a:tcBdr>
          <a:bottom>
            <a:ln w="254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rgbClr val="FFFFFF">
              <a:alpha val="0"/>
            </a:srgbClr>
          </a:solidFill>
        </a:fill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635" autoAdjust="0"/>
    <p:restoredTop sz="89819" autoAdjust="0"/>
  </p:normalViewPr>
  <p:slideViewPr>
    <p:cSldViewPr snapToGrid="0">
      <p:cViewPr varScale="1">
        <p:scale>
          <a:sx n="77" d="100"/>
          <a:sy n="77" d="100"/>
        </p:scale>
        <p:origin x="1296" y="72"/>
      </p:cViewPr>
      <p:guideLst>
        <p:guide pos="648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13" Type="http://schemas.openxmlformats.org/officeDocument/2006/relationships/slide" Target="slides/slide1.xml"/><Relationship Id="rId14" Type="http://schemas.openxmlformats.org/officeDocument/2006/relationships/slide" Target="slides/slide2.xml"/><Relationship Id="rId15" Type="http://schemas.openxmlformats.org/officeDocument/2006/relationships/slide" Target="slides/slide3.xml"/><Relationship Id="rId16" Type="http://schemas.openxmlformats.org/officeDocument/2006/relationships/slide" Target="slides/slide4.xml"/><Relationship Id="rId17" Type="http://schemas.openxmlformats.org/officeDocument/2006/relationships/slide" Target="slides/slide5.xml"/><Relationship Id="rId18" Type="http://schemas.openxmlformats.org/officeDocument/2006/relationships/slide" Target="slides/slide6.xml"/><Relationship Id="rId19" Type="http://schemas.openxmlformats.org/officeDocument/2006/relationships/slide" Target="slides/slide7.xml"/><Relationship Id="rId2" Type="http://schemas.openxmlformats.org/officeDocument/2006/relationships/customXml" Target="../customXml/item2.xml"/><Relationship Id="rId20" Type="http://schemas.openxmlformats.org/officeDocument/2006/relationships/slide" Target="slides/slide8.xml"/><Relationship Id="rId21" Type="http://schemas.openxmlformats.org/officeDocument/2006/relationships/slide" Target="slides/slide9.xml"/><Relationship Id="rId22" Type="http://schemas.openxmlformats.org/officeDocument/2006/relationships/slide" Target="slides/slide10.xml"/><Relationship Id="rId23" Type="http://schemas.openxmlformats.org/officeDocument/2006/relationships/slide" Target="slides/slide11.xml"/><Relationship Id="rId24" Type="http://schemas.openxmlformats.org/officeDocument/2006/relationships/slide" Target="slides/slide12.xml"/><Relationship Id="rId3" Type="http://schemas.openxmlformats.org/officeDocument/2006/relationships/customXml" Target="../customXml/item3.xml"/><Relationship Id="rId39" Type="http://customschemas.google.com/relationships/presentationmetadata" Target="metadata"/><Relationship Id="rId4" Type="http://schemas.openxmlformats.org/officeDocument/2006/relationships/slideMaster" Target="slideMasters/slideMaster1.xml"/><Relationship Id="rId40" Type="http://schemas.openxmlformats.org/officeDocument/2006/relationships/commentAuthors" Target="commentAuthors.xml"/><Relationship Id="rId41" Type="http://schemas.openxmlformats.org/officeDocument/2006/relationships/presProps" Target="presProps.xml"/><Relationship Id="rId42" Type="http://schemas.openxmlformats.org/officeDocument/2006/relationships/viewProps" Target="viewProps.xml"/><Relationship Id="rId43" Type="http://schemas.openxmlformats.org/officeDocument/2006/relationships/theme" Target="theme/theme1.xml"/><Relationship Id="rId44" Type="http://schemas.openxmlformats.org/officeDocument/2006/relationships/tableStyles" Target="tableStyles.xml"/><Relationship Id="rId7" Type="http://schemas.openxmlformats.org/officeDocument/2006/relationships/notesMaster" Target="notesMasters/notesMaster1.xml"/><Relationship Id="rId8" Type="http://schemas.openxmlformats.org/officeDocument/2006/relationships/tags" Target="tags/tag1.xml"/></Relationships>
</file>

<file path=ppt/drawings/_rels/vmlDrawing1.vml.rels><?xml version='1.0' encoding='UTF-8' standalone='yes'?>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 userDrawn="1">
  <p:cSld name="TITL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oogle Shape;14;p24" descr="Picture 1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429251" y="819670"/>
            <a:ext cx="1322585" cy="1872686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Google Shape;17;p24"/>
          <p:cNvSpPr/>
          <p:nvPr/>
        </p:nvSpPr>
        <p:spPr>
          <a:xfrm>
            <a:off x="0" y="5771355"/>
            <a:ext cx="12192000" cy="1124745"/>
          </a:xfrm>
          <a:prstGeom prst="rect">
            <a:avLst/>
          </a:prstGeom>
          <a:solidFill>
            <a:srgbClr val="EE4D2D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 preserve="1" userDrawn="1">
  <p:cSld name="Custom Layout"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31"/>
          <p:cNvSpPr/>
          <p:nvPr/>
        </p:nvSpPr>
        <p:spPr>
          <a:xfrm>
            <a:off x="11893189" y="687583"/>
            <a:ext cx="101600" cy="100800"/>
          </a:xfrm>
          <a:prstGeom prst="ellipse">
            <a:avLst/>
          </a:prstGeom>
          <a:solidFill>
            <a:srgbClr val="FF6600"/>
          </a:solidFill>
          <a:ln w="9525" cap="flat" cmpd="sng">
            <a:solidFill>
              <a:srgbClr val="FF66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8567" tIns="19267" rIns="38567" bIns="19267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Calibri"/>
              <a:buNone/>
            </a:pPr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" name="Google Shape;12;p131"/>
          <p:cNvSpPr txBox="1">
            <a:spLocks noGrp="1"/>
          </p:cNvSpPr>
          <p:nvPr>
            <p:ph type="sldNum" idx="12"/>
          </p:nvPr>
        </p:nvSpPr>
        <p:spPr>
          <a:xfrm>
            <a:off x="9262308" y="6356349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8575" tIns="19275" rIns="38575" bIns="1927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13" name="Google Shape;13;p131"/>
          <p:cNvSpPr txBox="1"/>
          <p:nvPr/>
        </p:nvSpPr>
        <p:spPr>
          <a:xfrm>
            <a:off x="1749107" y="6415085"/>
            <a:ext cx="8884800" cy="24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9967" tIns="54700" rIns="89967" bIns="44967" anchor="t" anchorCtr="0">
            <a:noAutofit/>
          </a:bodyPr>
          <a:lstStyle/>
          <a:p>
            <a:pPr marL="0" marR="0" lvl="0" indent="0" algn="ctr" rtl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ts val="800"/>
              <a:buFont typeface="Times New Roman"/>
              <a:buNone/>
            </a:pPr>
            <a:r>
              <a:rPr lang="en" sz="1067" b="0" i="0" u="none" strike="noStrike" cap="none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Private &amp; Confidential</a:t>
            </a:r>
            <a:endParaRPr sz="10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5" name="Google Shape;28;p19">
            <a:extLst>
              <a:ext uri="{FF2B5EF4-FFF2-40B4-BE49-F238E27FC236}">
                <a16:creationId xmlns:a16="http://schemas.microsoft.com/office/drawing/2014/main" id="{CA5B0FAF-24BC-4949-9387-8E9ECE3D8245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873777589"/>
              </p:ext>
            </p:extLst>
          </p:nvPr>
        </p:nvGraphicFramePr>
        <p:xfrm>
          <a:off x="1988457" y="916239"/>
          <a:ext cx="9899733" cy="1473665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7019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023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329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6253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94733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r>
                        <a:rPr lang="en" sz="900" b="1" u="none" strike="noStrike" cap="none" dirty="0"/>
                        <a:t>Name</a:t>
                      </a:r>
                      <a:endParaRPr sz="900" b="1" u="none" strike="noStrike" cap="none" dirty="0"/>
                    </a:p>
                  </a:txBody>
                  <a:tcPr marL="91433" marR="91433" marT="36000" marB="3600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900" u="none" strike="noStrike" cap="none" dirty="0">
                        <a:solidFill>
                          <a:srgbClr val="0000FF"/>
                        </a:solidFill>
                      </a:endParaRPr>
                    </a:p>
                  </a:txBody>
                  <a:tcPr marL="1219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" sz="900" b="1" u="none" strike="noStrike" cap="none"/>
                        <a:t>Total Team Size</a:t>
                      </a:r>
                      <a:endParaRPr sz="900" b="1" u="none" strike="noStrike" cap="none"/>
                    </a:p>
                  </a:txBody>
                  <a:tcPr marL="91433" marR="91433" marT="36000" marB="3600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900" dirty="0">
                        <a:solidFill>
                          <a:srgbClr val="0000FF"/>
                        </a:solidFill>
                      </a:endParaRPr>
                    </a:p>
                  </a:txBody>
                  <a:tcPr marL="59267" marR="59267" marT="25400" marB="2540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4733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r>
                        <a:rPr lang="en" sz="900" b="1" u="none" strike="noStrike" cap="none" dirty="0"/>
                        <a:t>Designation</a:t>
                      </a:r>
                      <a:endParaRPr sz="900" b="1" u="none" strike="noStrike" cap="none" dirty="0"/>
                    </a:p>
                  </a:txBody>
                  <a:tcPr marL="91433" marR="91433" marT="36000" marB="3600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endParaRPr sz="900" u="none" strike="noStrike" cap="none" dirty="0">
                        <a:solidFill>
                          <a:srgbClr val="0000FF"/>
                        </a:solidFill>
                      </a:endParaRPr>
                    </a:p>
                  </a:txBody>
                  <a:tcPr marL="1219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r>
                        <a:rPr lang="en-SG" sz="900" b="1" u="none" strike="noStrike" cap="none" dirty="0"/>
                        <a:t>Tenure</a:t>
                      </a:r>
                    </a:p>
                  </a:txBody>
                  <a:tcPr marL="91433" marR="91433" marT="36000" marB="3600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700"/>
                        <a:buFont typeface="Arial"/>
                        <a:buNone/>
                      </a:pPr>
                      <a:endParaRPr lang="en-SG" sz="1600" u="none" strike="noStrike" cap="none" dirty="0">
                        <a:solidFill>
                          <a:srgbClr val="0000FF"/>
                        </a:solidFill>
                      </a:endParaRPr>
                    </a:p>
                  </a:txBody>
                  <a:tcPr marL="59267" marR="59267" marT="25400" marB="2540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4733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" sz="900" b="1" u="none" strike="noStrike" cap="none"/>
                        <a:t>Location</a:t>
                      </a:r>
                      <a:endParaRPr sz="900" b="1" u="none" strike="noStrike" cap="none"/>
                    </a:p>
                  </a:txBody>
                  <a:tcPr marL="91433" marR="91433" marT="36000" marB="3600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900" u="none" strike="noStrike" cap="none" dirty="0">
                        <a:solidFill>
                          <a:srgbClr val="0000FF"/>
                        </a:solidFill>
                      </a:endParaRPr>
                    </a:p>
                  </a:txBody>
                  <a:tcPr marL="1219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" sz="900" b="1" u="none" strike="noStrike" cap="none"/>
                        <a:t>Age</a:t>
                      </a:r>
                      <a:endParaRPr sz="900" b="1" u="none" strike="noStrike" cap="none"/>
                    </a:p>
                  </a:txBody>
                  <a:tcPr marL="91433" marR="91433" marT="36000" marB="3600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900" u="none" strike="noStrike" cap="none" dirty="0">
                        <a:solidFill>
                          <a:srgbClr val="0000FF"/>
                        </a:solidFill>
                      </a:endParaRPr>
                    </a:p>
                  </a:txBody>
                  <a:tcPr marL="1219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4733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" sz="900" b="1" u="none" strike="noStrike" cap="none"/>
                        <a:t>Reporting Manager</a:t>
                      </a:r>
                      <a:endParaRPr sz="900" b="1" u="none" strike="noStrike" cap="none"/>
                    </a:p>
                  </a:txBody>
                  <a:tcPr marL="91433" marR="91433" marT="36000" marB="3600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endParaRPr sz="900" u="none" strike="noStrike" cap="none" dirty="0">
                        <a:solidFill>
                          <a:srgbClr val="0000FF"/>
                        </a:solidFill>
                      </a:endParaRPr>
                    </a:p>
                  </a:txBody>
                  <a:tcPr marL="1219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" sz="900" b="1" u="none" strike="noStrike" cap="none"/>
                        <a:t>2022 Performance Grade</a:t>
                      </a:r>
                      <a:endParaRPr sz="900" b="1" u="none" strike="noStrike" cap="none"/>
                    </a:p>
                  </a:txBody>
                  <a:tcPr marL="91433" marR="91433" marT="36000" marB="3600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endParaRPr sz="900" u="none" strike="noStrike" cap="none" dirty="0">
                        <a:solidFill>
                          <a:srgbClr val="0000FF"/>
                        </a:solidFill>
                      </a:endParaRPr>
                    </a:p>
                  </a:txBody>
                  <a:tcPr marL="1219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4733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" sz="900" b="1" u="none" strike="noStrike" cap="none"/>
                        <a:t>Country Head/HOD</a:t>
                      </a:r>
                      <a:endParaRPr sz="900" b="1" u="none" strike="noStrike" cap="none"/>
                    </a:p>
                  </a:txBody>
                  <a:tcPr marL="91433" marR="91433" marT="36000" marB="3600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900" u="none" strike="noStrike" cap="none" dirty="0">
                        <a:solidFill>
                          <a:srgbClr val="0000FF"/>
                        </a:solidFill>
                      </a:endParaRPr>
                    </a:p>
                  </a:txBody>
                  <a:tcPr marL="1219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" sz="900" b="1" u="none" strike="noStrike" cap="none"/>
                        <a:t>2022 Long-term Potential</a:t>
                      </a:r>
                      <a:endParaRPr sz="900" b="1" u="none" strike="noStrike" cap="none"/>
                    </a:p>
                  </a:txBody>
                  <a:tcPr marL="91433" marR="91433" marT="36000" marB="3600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900" u="none" strike="noStrike" cap="none" dirty="0">
                        <a:solidFill>
                          <a:srgbClr val="0000FF"/>
                        </a:solidFill>
                      </a:endParaRPr>
                    </a:p>
                  </a:txBody>
                  <a:tcPr marL="1219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6" name="Google Shape;29;p19">
            <a:extLst>
              <a:ext uri="{FF2B5EF4-FFF2-40B4-BE49-F238E27FC236}">
                <a16:creationId xmlns:a16="http://schemas.microsoft.com/office/drawing/2014/main" id="{6A347EDE-38AD-4BA3-9BD3-BEDF81DE3317}"/>
              </a:ext>
            </a:extLst>
          </p:cNvPr>
          <p:cNvSpPr/>
          <p:nvPr userDrawn="1"/>
        </p:nvSpPr>
        <p:spPr>
          <a:xfrm>
            <a:off x="303867" y="2500299"/>
            <a:ext cx="4038311" cy="259976"/>
          </a:xfrm>
          <a:prstGeom prst="rect">
            <a:avLst/>
          </a:prstGeom>
          <a:solidFill>
            <a:srgbClr val="113366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" sz="933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Background and Experience</a:t>
            </a:r>
            <a:endParaRPr sz="933" b="1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7" name="Google Shape;30;p19">
            <a:extLst>
              <a:ext uri="{FF2B5EF4-FFF2-40B4-BE49-F238E27FC236}">
                <a16:creationId xmlns:a16="http://schemas.microsoft.com/office/drawing/2014/main" id="{E8395391-174D-4995-97F1-1C66A819FF9A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4037820347"/>
              </p:ext>
            </p:extLst>
          </p:nvPr>
        </p:nvGraphicFramePr>
        <p:xfrm>
          <a:off x="303867" y="2798809"/>
          <a:ext cx="4038334" cy="3807233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7914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468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61433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r>
                        <a:rPr lang="en" sz="800" b="1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cademic Background</a:t>
                      </a:r>
                      <a:endParaRPr sz="8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47400" marR="147400" marT="0" marB="0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6D9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2263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700"/>
                        <a:buFont typeface="Arial"/>
                        <a:buNone/>
                      </a:pPr>
                      <a:endParaRPr sz="900" dirty="0">
                        <a:solidFill>
                          <a:schemeClr val="dk1"/>
                        </a:solidFill>
                      </a:endParaRPr>
                    </a:p>
                  </a:txBody>
                  <a:tcPr marL="1524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13267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r>
                        <a:rPr lang="en" sz="800" b="1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reer Path and Past Experiences</a:t>
                      </a:r>
                      <a:endParaRPr sz="800" u="none" strike="noStrike" cap="none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endParaRPr sz="8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endParaRPr sz="8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endParaRPr sz="8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endParaRPr sz="8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47400" marR="147400" marT="0" marB="0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6D9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700"/>
                        <a:buFont typeface="Arial"/>
                        <a:buNone/>
                      </a:pPr>
                      <a:endParaRPr sz="900" dirty="0">
                        <a:solidFill>
                          <a:schemeClr val="dk1"/>
                        </a:solidFill>
                        <a:highlight>
                          <a:schemeClr val="lt1"/>
                        </a:highlight>
                      </a:endParaRPr>
                    </a:p>
                  </a:txBody>
                  <a:tcPr marL="1219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32533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r>
                        <a:rPr lang="en" sz="800" b="1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2023</a:t>
                      </a:r>
                      <a:r>
                        <a:rPr lang="en" sz="800" b="1" u="none" strike="noStrike" cap="none">
                          <a:solidFill>
                            <a:schemeClr val="dk1"/>
                          </a:solidFill>
                        </a:rPr>
                        <a:t> </a:t>
                      </a:r>
                      <a:r>
                        <a:rPr lang="en" sz="800" b="1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erforma- nce Goals</a:t>
                      </a:r>
                      <a:endParaRPr sz="800" u="none" strike="noStrike" cap="none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endParaRPr sz="8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endParaRPr sz="8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r>
                        <a:rPr lang="en" sz="800" b="1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endParaRPr sz="8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47400" marR="147400" marT="0" marB="0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6D9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endParaRPr sz="900" u="none" strike="noStrike" cap="none" dirty="0">
                        <a:solidFill>
                          <a:schemeClr val="dk1"/>
                        </a:solidFill>
                        <a:highlight>
                          <a:schemeClr val="lt1"/>
                        </a:highlight>
                      </a:endParaRPr>
                    </a:p>
                  </a:txBody>
                  <a:tcPr marL="1219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9" name="Google Shape;32;p19">
            <a:extLst>
              <a:ext uri="{FF2B5EF4-FFF2-40B4-BE49-F238E27FC236}">
                <a16:creationId xmlns:a16="http://schemas.microsoft.com/office/drawing/2014/main" id="{F3BD0568-2A05-4692-8868-B1741CF0727C}"/>
              </a:ext>
            </a:extLst>
          </p:cNvPr>
          <p:cNvSpPr/>
          <p:nvPr userDrawn="1"/>
        </p:nvSpPr>
        <p:spPr>
          <a:xfrm>
            <a:off x="4524718" y="2505267"/>
            <a:ext cx="7363401" cy="238947"/>
          </a:xfrm>
          <a:prstGeom prst="rect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" sz="933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trengths &amp; Development Areas</a:t>
            </a:r>
            <a:endParaRPr sz="933" b="1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30" name="Google Shape;33;p19">
            <a:extLst>
              <a:ext uri="{FF2B5EF4-FFF2-40B4-BE49-F238E27FC236}">
                <a16:creationId xmlns:a16="http://schemas.microsoft.com/office/drawing/2014/main" id="{0CE5415C-CD98-4E91-B12E-8D04642C7AE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2736103682"/>
              </p:ext>
            </p:extLst>
          </p:nvPr>
        </p:nvGraphicFramePr>
        <p:xfrm>
          <a:off x="4519783" y="2818997"/>
          <a:ext cx="7368367" cy="2032567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8372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531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27567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" sz="800" b="1" u="none" strike="noStrike" cap="none">
                          <a:solidFill>
                            <a:schemeClr val="dk1"/>
                          </a:solidFill>
                        </a:rPr>
                        <a:t>Strengths</a:t>
                      </a:r>
                      <a:endParaRPr sz="8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700"/>
                        <a:buFont typeface="Arial"/>
                        <a:buNone/>
                      </a:pPr>
                      <a:endParaRPr sz="900" dirty="0">
                        <a:solidFill>
                          <a:schemeClr val="dk1"/>
                        </a:solidFill>
                      </a:endParaRPr>
                    </a:p>
                  </a:txBody>
                  <a:tcPr marL="1219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050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" sz="800" b="1" u="none" strike="noStrike" cap="none">
                          <a:solidFill>
                            <a:schemeClr val="dk1"/>
                          </a:solidFill>
                        </a:rPr>
                        <a:t>Development Areas</a:t>
                      </a:r>
                      <a:endParaRPr sz="8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dirty="0">
                        <a:solidFill>
                          <a:schemeClr val="dk1"/>
                        </a:solidFill>
                      </a:endParaRPr>
                    </a:p>
                  </a:txBody>
                  <a:tcPr marL="1219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1" name="Google Shape;34;p19">
            <a:extLst>
              <a:ext uri="{FF2B5EF4-FFF2-40B4-BE49-F238E27FC236}">
                <a16:creationId xmlns:a16="http://schemas.microsoft.com/office/drawing/2014/main" id="{FCCF6EB3-2511-4FBC-84AF-74FB57F450EF}"/>
              </a:ext>
            </a:extLst>
          </p:cNvPr>
          <p:cNvSpPr/>
          <p:nvPr userDrawn="1"/>
        </p:nvSpPr>
        <p:spPr>
          <a:xfrm>
            <a:off x="4524717" y="4949685"/>
            <a:ext cx="7396383" cy="2636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" sz="933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Future Plan</a:t>
            </a:r>
            <a:endParaRPr sz="933" b="1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32" name="Google Shape;35;p19">
            <a:extLst>
              <a:ext uri="{FF2B5EF4-FFF2-40B4-BE49-F238E27FC236}">
                <a16:creationId xmlns:a16="http://schemas.microsoft.com/office/drawing/2014/main" id="{41DB47B7-383F-4F21-9C41-6A4BC771A476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2857136825"/>
              </p:ext>
            </p:extLst>
          </p:nvPr>
        </p:nvGraphicFramePr>
        <p:xfrm>
          <a:off x="4519781" y="5245887"/>
          <a:ext cx="7396400" cy="1305323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8694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5269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35828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" sz="900" b="1" u="none" strike="noStrike" cap="none">
                          <a:solidFill>
                            <a:schemeClr val="dk1"/>
                          </a:solidFill>
                        </a:rPr>
                        <a:t>Current Role</a:t>
                      </a:r>
                      <a:endParaRPr sz="900" u="none" strike="noStrike" cap="none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9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9DC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900" dirty="0">
                        <a:solidFill>
                          <a:schemeClr val="dk1"/>
                        </a:solidFill>
                      </a:endParaRPr>
                    </a:p>
                  </a:txBody>
                  <a:tcPr marL="1219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3363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" sz="900" b="1" u="none" strike="noStrike" cap="none">
                          <a:solidFill>
                            <a:schemeClr val="dk1"/>
                          </a:solidFill>
                        </a:rPr>
                        <a:t>Potential role in 6 months</a:t>
                      </a:r>
                      <a:endParaRPr sz="9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9DC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700"/>
                        <a:buFont typeface="Arial"/>
                        <a:buNone/>
                      </a:pPr>
                      <a:endParaRPr sz="900" u="none" strike="noStrike" cap="none" dirty="0">
                        <a:solidFill>
                          <a:schemeClr val="dk1"/>
                        </a:solidFill>
                      </a:endParaRPr>
                    </a:p>
                  </a:txBody>
                  <a:tcPr marL="1219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0304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" sz="900" b="1" u="none" strike="noStrike" cap="none">
                          <a:solidFill>
                            <a:schemeClr val="dk1"/>
                          </a:solidFill>
                        </a:rPr>
                        <a:t>Potential role in 1-2 years</a:t>
                      </a:r>
                      <a:endParaRPr sz="900" u="none" strike="noStrike" cap="none"/>
                    </a:p>
                  </a:txBody>
                  <a:tcPr marL="1219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9DC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700"/>
                        <a:buFont typeface="Arial"/>
                        <a:buNone/>
                      </a:pPr>
                      <a:endParaRPr sz="900" u="none" strike="noStrike" cap="none" dirty="0">
                        <a:solidFill>
                          <a:schemeClr val="dk1"/>
                        </a:solidFill>
                      </a:endParaRPr>
                    </a:p>
                  </a:txBody>
                  <a:tcPr marL="1219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5828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" sz="900" b="1" u="none" strike="noStrike" cap="none">
                          <a:solidFill>
                            <a:schemeClr val="dk1"/>
                          </a:solidFill>
                        </a:rPr>
                        <a:t>Potential role in 3-5 years</a:t>
                      </a:r>
                      <a:endParaRPr sz="190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900" u="none" strike="noStrike" cap="none"/>
                    </a:p>
                  </a:txBody>
                  <a:tcPr marL="1219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9DC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700"/>
                        <a:buFont typeface="Arial"/>
                        <a:buNone/>
                      </a:pPr>
                      <a:endParaRPr sz="900" dirty="0">
                        <a:solidFill>
                          <a:schemeClr val="dk1"/>
                        </a:solidFill>
                      </a:endParaRPr>
                    </a:p>
                  </a:txBody>
                  <a:tcPr marL="1219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3" name="Google Shape;36;p19">
            <a:extLst>
              <a:ext uri="{FF2B5EF4-FFF2-40B4-BE49-F238E27FC236}">
                <a16:creationId xmlns:a16="http://schemas.microsoft.com/office/drawing/2014/main" id="{D561BCA8-523E-4FD1-8EBF-738232B50438}"/>
              </a:ext>
            </a:extLst>
          </p:cNvPr>
          <p:cNvSpPr txBox="1"/>
          <p:nvPr userDrawn="1"/>
        </p:nvSpPr>
        <p:spPr>
          <a:xfrm>
            <a:off x="9363900" y="6559539"/>
            <a:ext cx="2743200" cy="2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1433" tIns="25700" rIns="51433" bIns="2570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" sz="9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t>‹#›</a:t>
            </a:fld>
            <a:endParaRPr sz="933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8790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and Content" userDrawn="1">
  <p:cSld name="2_Title and Content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6_Comparison(Numbers)" userDrawn="1">
  <p:cSld name="6_Comparison(Numbers)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p29"/>
          <p:cNvSpPr txBox="1">
            <a:spLocks noGrp="1"/>
          </p:cNvSpPr>
          <p:nvPr>
            <p:ph type="sldNum" idx="12"/>
          </p:nvPr>
        </p:nvSpPr>
        <p:spPr>
          <a:xfrm>
            <a:off x="11994871" y="6394500"/>
            <a:ext cx="301909" cy="288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sp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" name="Google Shape;71;p29"/>
          <p:cNvCxnSpPr/>
          <p:nvPr/>
        </p:nvCxnSpPr>
        <p:spPr>
          <a:xfrm>
            <a:off x="955524" y="785569"/>
            <a:ext cx="10888264" cy="1"/>
          </a:xfrm>
          <a:prstGeom prst="straightConnector1">
            <a:avLst/>
          </a:prstGeom>
          <a:noFill/>
          <a:ln w="25400" cap="flat" cmpd="sng">
            <a:solidFill>
              <a:srgbClr val="EE4D2D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72" name="Google Shape;72;p29" descr="shopee-logo-en.png"/>
          <p:cNvPicPr preferRelativeResize="0"/>
          <p:nvPr/>
        </p:nvPicPr>
        <p:blipFill rotWithShape="1">
          <a:blip r:embed="rId2">
            <a:alphaModFix/>
          </a:blip>
          <a:srcRect r="71131"/>
          <a:stretch/>
        </p:blipFill>
        <p:spPr>
          <a:xfrm>
            <a:off x="411073" y="329579"/>
            <a:ext cx="450504" cy="494163"/>
          </a:xfrm>
          <a:prstGeom prst="rect">
            <a:avLst/>
          </a:prstGeom>
          <a:noFill/>
          <a:ln>
            <a:noFill/>
          </a:ln>
        </p:spPr>
      </p:pic>
      <p:sp>
        <p:nvSpPr>
          <p:cNvPr id="73" name="Google Shape;73;p29"/>
          <p:cNvSpPr txBox="1"/>
          <p:nvPr/>
        </p:nvSpPr>
        <p:spPr>
          <a:xfrm>
            <a:off x="2748800" y="6415795"/>
            <a:ext cx="6686400" cy="44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91400" rIns="91400" bIns="914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ts val="1800"/>
              <a:buFont typeface="Arial"/>
              <a:buNone/>
            </a:pPr>
            <a:r>
              <a:rPr lang="en-US" sz="1000" b="0" i="0" u="none" strike="noStrike" cap="none" dirty="0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Private &amp; Confidential</a:t>
            </a:r>
            <a:endParaRPr sz="10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" name="Google Shape;74;p29"/>
          <p:cNvSpPr txBox="1"/>
          <p:nvPr/>
        </p:nvSpPr>
        <p:spPr>
          <a:xfrm>
            <a:off x="11438574" y="6444243"/>
            <a:ext cx="387600" cy="37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2625" tIns="102625" rIns="102625" bIns="1026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ent" userDrawn="1">
  <p:cSld name="Content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3"/>
          <p:cNvSpPr txBox="1"/>
          <p:nvPr/>
        </p:nvSpPr>
        <p:spPr>
          <a:xfrm>
            <a:off x="5090212" y="6401279"/>
            <a:ext cx="2011724" cy="2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2850" tIns="22850" rIns="22850" bIns="2285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000"/>
              <a:buFont typeface="Open Sans"/>
              <a:buNone/>
            </a:pPr>
            <a:r>
              <a:rPr lang="en-US" sz="1000" b="0" i="0" u="none" strike="noStrike" cap="none">
                <a:solidFill>
                  <a:srgbClr val="888888"/>
                </a:solidFill>
                <a:latin typeface="Open Sans"/>
                <a:ea typeface="Open Sans"/>
                <a:cs typeface="Open Sans"/>
                <a:sym typeface="Open Sans"/>
              </a:rPr>
              <a:t>Private &amp; Confidential</a:t>
            </a:r>
            <a:endParaRPr sz="700"/>
          </a:p>
        </p:txBody>
      </p:sp>
      <p:grpSp>
        <p:nvGrpSpPr>
          <p:cNvPr id="20" name="Google Shape;20;p3"/>
          <p:cNvGrpSpPr/>
          <p:nvPr/>
        </p:nvGrpSpPr>
        <p:grpSpPr>
          <a:xfrm>
            <a:off x="227394" y="246675"/>
            <a:ext cx="1100836" cy="513256"/>
            <a:chOff x="0" y="0"/>
            <a:chExt cx="2201539" cy="1026513"/>
          </a:xfrm>
        </p:grpSpPr>
        <p:pic>
          <p:nvPicPr>
            <p:cNvPr id="21" name="Google Shape;21;p3" descr="Shopee_logo_en-02.png"/>
            <p:cNvPicPr preferRelativeResize="0"/>
            <p:nvPr/>
          </p:nvPicPr>
          <p:blipFill rotWithShape="1">
            <a:blip r:embed="rId2">
              <a:alphaModFix/>
            </a:blip>
            <a:srcRect l="2858" t="10174" r="66963" b="24308"/>
            <a:stretch/>
          </p:blipFill>
          <p:spPr>
            <a:xfrm>
              <a:off x="0" y="0"/>
              <a:ext cx="1024509" cy="102651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2" name="Google Shape;22;p3" descr="Shopee_logo_en-02.png"/>
            <p:cNvPicPr preferRelativeResize="0"/>
            <p:nvPr/>
          </p:nvPicPr>
          <p:blipFill rotWithShape="1">
            <a:blip r:embed="rId2">
              <a:alphaModFix/>
            </a:blip>
            <a:srcRect l="62438" t="10174" r="1516" b="24308"/>
            <a:stretch/>
          </p:blipFill>
          <p:spPr>
            <a:xfrm>
              <a:off x="977822" y="0"/>
              <a:ext cx="1223717" cy="1026513"/>
            </a:xfrm>
            <a:prstGeom prst="rect">
              <a:avLst/>
            </a:prstGeom>
            <a:noFill/>
            <a:ln>
              <a:noFill/>
            </a:ln>
          </p:spPr>
        </p:pic>
      </p:grpSp>
      <p:cxnSp>
        <p:nvCxnSpPr>
          <p:cNvPr id="23" name="Google Shape;23;p3"/>
          <p:cNvCxnSpPr/>
          <p:nvPr/>
        </p:nvCxnSpPr>
        <p:spPr>
          <a:xfrm>
            <a:off x="1443647" y="725688"/>
            <a:ext cx="10177450" cy="0"/>
          </a:xfrm>
          <a:prstGeom prst="straightConnector1">
            <a:avLst/>
          </a:prstGeom>
          <a:noFill/>
          <a:ln w="50800" cap="flat" cmpd="sng">
            <a:solidFill>
              <a:srgbClr val="EE4D2D"/>
            </a:solidFill>
            <a:prstDash val="solid"/>
            <a:miter lim="400000"/>
            <a:headEnd type="none" w="sm" len="sm"/>
            <a:tailEnd type="none" w="sm" len="sm"/>
          </a:ln>
        </p:spPr>
      </p:cxnSp>
      <p:sp>
        <p:nvSpPr>
          <p:cNvPr id="25" name="Google Shape;25;p3"/>
          <p:cNvSpPr txBox="1">
            <a:spLocks noGrp="1"/>
          </p:cNvSpPr>
          <p:nvPr>
            <p:ph type="sldNum" idx="12"/>
          </p:nvPr>
        </p:nvSpPr>
        <p:spPr>
          <a:xfrm>
            <a:off x="11690324" y="6379688"/>
            <a:ext cx="231360" cy="26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5400" tIns="25400" rIns="25400" bIns="2540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1200">
                <a:solidFill>
                  <a:srgbClr val="000000"/>
                </a:solidFill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1200">
                <a:solidFill>
                  <a:srgbClr val="000000"/>
                </a:solidFill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1200">
                <a:solidFill>
                  <a:srgbClr val="000000"/>
                </a:solidFill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1200">
                <a:solidFill>
                  <a:srgbClr val="000000"/>
                </a:solidFill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1200">
                <a:solidFill>
                  <a:srgbClr val="000000"/>
                </a:solidFill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1200">
                <a:solidFill>
                  <a:srgbClr val="000000"/>
                </a:solidFill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1200">
                <a:solidFill>
                  <a:srgbClr val="000000"/>
                </a:solidFill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1200">
                <a:solidFill>
                  <a:srgbClr val="000000"/>
                </a:solidFill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1200">
                <a:solidFill>
                  <a:srgbClr val="000000"/>
                </a:solidFill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sz="1100">
              <a:solidFill>
                <a:srgbClr val="9292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7034161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10" Type="http://schemas.openxmlformats.org/officeDocument/2006/relationships/image" Target="../media/image1.emf"/><Relationship Id="rId11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theme" Target="../theme/theme1.xml"/><Relationship Id="rId7" Type="http://schemas.openxmlformats.org/officeDocument/2006/relationships/vmlDrawing" Target="../drawings/vmlDrawing1.vml"/><Relationship Id="rId8" Type="http://schemas.openxmlformats.org/officeDocument/2006/relationships/tags" Target="../tags/tag2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DF422E0-655F-40A0-BC0E-5B196BA44D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704326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1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Google Shape;8;p21"/>
          <p:cNvSpPr txBox="1">
            <a:spLocks noGrp="1"/>
          </p:cNvSpPr>
          <p:nvPr>
            <p:ph type="sldNum" idx="12"/>
          </p:nvPr>
        </p:nvSpPr>
        <p:spPr>
          <a:xfrm>
            <a:off x="11994871" y="6394500"/>
            <a:ext cx="301909" cy="288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sp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>
              <a:solidFill>
                <a:srgbClr val="000000"/>
              </a:solidFill>
            </a:endParaRPr>
          </a:p>
        </p:txBody>
      </p:sp>
      <p:cxnSp>
        <p:nvCxnSpPr>
          <p:cNvPr id="9" name="Google Shape;9;p21"/>
          <p:cNvCxnSpPr/>
          <p:nvPr/>
        </p:nvCxnSpPr>
        <p:spPr>
          <a:xfrm>
            <a:off x="955524" y="785569"/>
            <a:ext cx="10888264" cy="1"/>
          </a:xfrm>
          <a:prstGeom prst="straightConnector1">
            <a:avLst/>
          </a:prstGeom>
          <a:noFill/>
          <a:ln w="25400" cap="flat" cmpd="sng">
            <a:solidFill>
              <a:srgbClr val="EE4D2D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10" name="Google Shape;10;p21" descr="shopee-logo-en.png"/>
          <p:cNvPicPr preferRelativeResize="0"/>
          <p:nvPr/>
        </p:nvPicPr>
        <p:blipFill rotWithShape="1">
          <a:blip r:embed="rId11">
            <a:alphaModFix/>
          </a:blip>
          <a:srcRect r="71131"/>
          <a:stretch/>
        </p:blipFill>
        <p:spPr>
          <a:xfrm>
            <a:off x="411073" y="329579"/>
            <a:ext cx="450504" cy="494163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Google Shape;11;p21"/>
          <p:cNvSpPr txBox="1"/>
          <p:nvPr/>
        </p:nvSpPr>
        <p:spPr>
          <a:xfrm>
            <a:off x="2748800" y="6415795"/>
            <a:ext cx="6686400" cy="44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91400" rIns="91400" bIns="914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ts val="1800"/>
              <a:buFont typeface="Arial"/>
              <a:buNone/>
            </a:pPr>
            <a:r>
              <a:rPr lang="en-US" sz="1000" b="0" i="0" u="none" strike="noStrike" cap="none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Private &amp; Confidential</a:t>
            </a:r>
            <a:endParaRPr sz="1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Google Shape;12;p21"/>
          <p:cNvSpPr txBox="1"/>
          <p:nvPr/>
        </p:nvSpPr>
        <p:spPr>
          <a:xfrm>
            <a:off x="11438574" y="6444243"/>
            <a:ext cx="387600" cy="37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2625" tIns="102625" rIns="102625" bIns="1026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5" r:id="rId3"/>
    <p:sldLayoutId id="2147483657" r:id="rId4"/>
    <p:sldLayoutId id="2147483661" r:id="rId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extBox 1"/>
          <p:cNvSpPr txBox="1"/>
          <p:nvPr/>
        </p:nvSpPr>
        <p:spPr>
          <a:xfrm>
            <a:off x="273599" y="3207599"/>
            <a:ext cx="11412000" cy="601200"/>
          </a:xfrm>
          <a:prstGeom prst="rect">
            <a:avLst/>
          </a:prstGeom>
          <a:noFill/>
        </p:spPr>
        <p:txBody>
          <a:bodyPr wrap="none" anchor="t">
            <a:spAutoFit/>
          </a:bodyPr>
          <a:lstStyle/>
          <a:p>
            <a:pPr algn="ctr"/>
            <a:r>
              <a:rPr sz="3600" b="1">
                <a:solidFill>
                  <a:srgbClr val="3F3F3F"/>
                </a:solidFill>
                <a:latin typeface="Arial"/>
              </a:rPr>
              <a:t>Key Talent Management Profile Tracking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124799" y="3887999"/>
            <a:ext cx="5925600" cy="557999"/>
          </a:xfrm>
          <a:prstGeom prst="rect">
            <a:avLst/>
          </a:prstGeom>
          <a:noFill/>
        </p:spPr>
        <p:txBody>
          <a:bodyPr wrap="none" anchor="t">
            <a:spAutoFit/>
          </a:bodyPr>
          <a:lstStyle/>
          <a:p>
            <a:pPr algn="ctr"/>
            <a:r>
              <a:rPr sz="2800" b="0">
                <a:solidFill>
                  <a:srgbClr val="3F3F3F"/>
                </a:solidFill>
                <a:latin typeface="Arial"/>
              </a:rPr>
              <a:t>Jan-2023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extBox 1"/>
          <p:cNvSpPr txBox="1"/>
          <p:nvPr/>
        </p:nvSpPr>
        <p:spPr>
          <a:xfrm>
            <a:off x="1396799" y="208799"/>
            <a:ext cx="10184399" cy="464400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2400" b="1" i="0">
                <a:solidFill>
                  <a:srgbClr val="EE4D2D"/>
                </a:solidFill>
                <a:latin typeface="Arial"/>
              </a:rPr>
              <a:t>Slide Number 5</a:t>
            </a:r>
            <a:endParaRPr sz="2400" b="1" i="0">
              <a:latin typeface="Arial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365760" y="996696"/>
          <a:ext cx="11430000" cy="5007255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484632"/>
                <a:gridCol w="6519672"/>
                <a:gridCol w="2212848"/>
                <a:gridCol w="2212848"/>
              </a:tblGrid>
              <a:tr h="347472">
                <a:tc>
                  <a:txBody>
                    <a:bodyPr/>
                    <a:lstStyle/>
                    <a:p>
                      <a:pPr algn="ctr">
                        <a:defRPr sz="14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A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4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B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4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C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4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D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5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16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46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5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14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56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8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56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5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9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1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5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16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6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4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4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5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4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5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44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5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9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34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8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1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48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46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4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5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3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4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9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6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8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8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18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6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1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50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1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3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6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4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11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extBox 1"/>
          <p:cNvSpPr txBox="1"/>
          <p:nvPr/>
        </p:nvSpPr>
        <p:spPr>
          <a:xfrm>
            <a:off x="1396799" y="208799"/>
            <a:ext cx="10184399" cy="464400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2400" b="1" i="0">
                <a:solidFill>
                  <a:srgbClr val="EE4D2D"/>
                </a:solidFill>
                <a:latin typeface="Arial"/>
              </a:rPr>
              <a:t>Slide Number 6</a:t>
            </a:r>
            <a:endParaRPr sz="2400" b="1" i="0">
              <a:latin typeface="Arial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365760" y="996696"/>
          <a:ext cx="11430000" cy="5007255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484632"/>
                <a:gridCol w="6519672"/>
                <a:gridCol w="2212848"/>
                <a:gridCol w="2212848"/>
              </a:tblGrid>
              <a:tr h="347472">
                <a:tc>
                  <a:txBody>
                    <a:bodyPr/>
                    <a:lstStyle/>
                    <a:p>
                      <a:pPr algn="ctr">
                        <a:defRPr sz="14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A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4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B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4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C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4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D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5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5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9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31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6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15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5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39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8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46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1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16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11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4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4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1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14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5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6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4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4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8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1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8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8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8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3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6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5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49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4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36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5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31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50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4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44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1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extBox 1"/>
          <p:cNvSpPr txBox="1"/>
          <p:nvPr/>
        </p:nvSpPr>
        <p:spPr>
          <a:xfrm>
            <a:off x="1396799" y="208799"/>
            <a:ext cx="10184399" cy="464400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2400" b="1" i="0">
                <a:solidFill>
                  <a:srgbClr val="EE4D2D"/>
                </a:solidFill>
                <a:latin typeface="Arial"/>
              </a:rPr>
              <a:t>Slide Number 7</a:t>
            </a:r>
            <a:endParaRPr sz="2400" b="1" i="0">
              <a:latin typeface="Arial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365760" y="996696"/>
          <a:ext cx="11430000" cy="822960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484632"/>
                <a:gridCol w="6519672"/>
                <a:gridCol w="2212848"/>
                <a:gridCol w="2212848"/>
              </a:tblGrid>
              <a:tr h="347472">
                <a:tc>
                  <a:txBody>
                    <a:bodyPr/>
                    <a:lstStyle/>
                    <a:p>
                      <a:pPr algn="ctr">
                        <a:defRPr sz="14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A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4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B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4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C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4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D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</a:tr>
              <a:tr h="237744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4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9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9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7744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54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extBox 1"/>
          <p:cNvSpPr txBox="1"/>
          <p:nvPr/>
        </p:nvSpPr>
        <p:spPr>
          <a:xfrm>
            <a:off x="1396799" y="208799"/>
            <a:ext cx="10184399" cy="464400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1" i="0">
                <a:solidFill>
                  <a:srgbClr val="EE4D2D"/>
                </a:solidFill>
                <a:latin typeface="Arial"/>
              </a:rPr>
              <a:t>Key Talent Profile Keng Whye LONG TEXTLONG TEXTLONG TEXTLONG TEXTLONG TEXTLONG TEXTLONG TEXTLONG TEXTLONG TEXTLONG TEXTLONG TEXT - Shopee Manager</a:t>
            </a:r>
            <a:endParaRPr sz="1200" b="1" i="0">
              <a:latin typeface="Arial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708000" y="936000"/>
            <a:ext cx="3765600" cy="309599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700" b="0" i="0">
                <a:solidFill>
                  <a:srgbClr val="000000"/>
                </a:solidFill>
                <a:latin typeface="Arial"/>
              </a:rPr>
              <a:t>Keng Whye LONG TEXTLONG TEXTLONG TEXTLONG TEXTLONG TEXTLONG TEXTLONG TEXTLONG TEXTLONG TEXTLONG TEXTLONG TEXT</a:t>
            </a:r>
            <a:endParaRPr sz="700" b="0" i="0">
              <a:latin typeface="Arial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extBox 1"/>
          <p:cNvSpPr txBox="1"/>
          <p:nvPr/>
        </p:nvSpPr>
        <p:spPr>
          <a:xfrm>
            <a:off x="1396799" y="208799"/>
            <a:ext cx="10184399" cy="464400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2400" b="1" i="0">
                <a:solidFill>
                  <a:srgbClr val="EE4D2D"/>
                </a:solidFill>
                <a:latin typeface="Arial"/>
              </a:rPr>
              <a:t>Key Talent Profile Hoang - Shopee Manager</a:t>
            </a:r>
            <a:endParaRPr sz="2400" b="1" i="0">
              <a:latin typeface="Arial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708000" y="936000"/>
            <a:ext cx="3765600" cy="309599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Hoang</a:t>
            </a:r>
            <a:endParaRPr sz="1200" b="0" i="0">
              <a:latin typeface="Arial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extBox 1"/>
          <p:cNvSpPr txBox="1"/>
          <p:nvPr/>
        </p:nvSpPr>
        <p:spPr>
          <a:xfrm>
            <a:off x="1396799" y="208799"/>
            <a:ext cx="10184399" cy="464400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2400" b="1" i="0">
                <a:solidFill>
                  <a:srgbClr val="EE4D2D"/>
                </a:solidFill>
                <a:latin typeface="Arial"/>
              </a:rPr>
              <a:t>Key Talent Profile Chuye - Shopee Manager</a:t>
            </a:r>
            <a:endParaRPr sz="2400" b="1" i="0">
              <a:latin typeface="Arial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708000" y="936000"/>
            <a:ext cx="3765600" cy="309599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Chuye</a:t>
            </a:r>
            <a:endParaRPr sz="1200" b="0" i="0">
              <a:latin typeface="Arial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extBox 1"/>
          <p:cNvSpPr txBox="1"/>
          <p:nvPr/>
        </p:nvSpPr>
        <p:spPr>
          <a:xfrm>
            <a:off x="1396799" y="208799"/>
            <a:ext cx="10184399" cy="464400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2400" b="1" i="0">
                <a:solidFill>
                  <a:srgbClr val="EE4D2D"/>
                </a:solidFill>
                <a:latin typeface="Arial"/>
              </a:rPr>
              <a:t>Slide Number 0</a:t>
            </a:r>
            <a:endParaRPr sz="2400" b="1" i="0">
              <a:latin typeface="Arial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365760" y="996696"/>
          <a:ext cx="11430000" cy="5007255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484632"/>
                <a:gridCol w="6519672"/>
                <a:gridCol w="2212848"/>
                <a:gridCol w="2212848"/>
              </a:tblGrid>
              <a:tr h="347472">
                <a:tc>
                  <a:txBody>
                    <a:bodyPr/>
                    <a:lstStyle/>
                    <a:p>
                      <a:pPr algn="ctr">
                        <a:defRPr sz="14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A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4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B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4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C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4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D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58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1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4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1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34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5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6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6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6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6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8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59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5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5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1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1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5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49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11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4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38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5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6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55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9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14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5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3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9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3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44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15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14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19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4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50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1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1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49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6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extBox 1"/>
          <p:cNvSpPr txBox="1"/>
          <p:nvPr/>
        </p:nvSpPr>
        <p:spPr>
          <a:xfrm>
            <a:off x="1396799" y="208799"/>
            <a:ext cx="10184399" cy="464400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2400" b="1" i="0">
                <a:solidFill>
                  <a:srgbClr val="EE4D2D"/>
                </a:solidFill>
                <a:latin typeface="Arial"/>
              </a:rPr>
              <a:t>Slide Number 1</a:t>
            </a:r>
            <a:endParaRPr sz="2400" b="1" i="0">
              <a:latin typeface="Arial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365760" y="996696"/>
          <a:ext cx="11430000" cy="5007255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484632"/>
                <a:gridCol w="6519672"/>
                <a:gridCol w="2212848"/>
                <a:gridCol w="2212848"/>
              </a:tblGrid>
              <a:tr h="347472">
                <a:tc>
                  <a:txBody>
                    <a:bodyPr/>
                    <a:lstStyle/>
                    <a:p>
                      <a:pPr algn="ctr">
                        <a:defRPr sz="14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A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4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B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4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C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4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D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1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3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5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1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8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8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4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4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44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4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8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5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1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4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5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38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16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8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5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9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5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1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1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1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55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19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4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1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3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4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5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45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50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4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1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7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extBox 1"/>
          <p:cNvSpPr txBox="1"/>
          <p:nvPr/>
        </p:nvSpPr>
        <p:spPr>
          <a:xfrm>
            <a:off x="1396799" y="208799"/>
            <a:ext cx="10184399" cy="464400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2400" b="1" i="0">
                <a:solidFill>
                  <a:srgbClr val="EE4D2D"/>
                </a:solidFill>
                <a:latin typeface="Arial"/>
              </a:rPr>
              <a:t>Slide Number 2</a:t>
            </a:r>
            <a:endParaRPr sz="2400" b="1" i="0">
              <a:latin typeface="Arial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365760" y="996696"/>
          <a:ext cx="11430000" cy="5007255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484632"/>
                <a:gridCol w="6519672"/>
                <a:gridCol w="2212848"/>
                <a:gridCol w="2212848"/>
              </a:tblGrid>
              <a:tr h="347472">
                <a:tc>
                  <a:txBody>
                    <a:bodyPr/>
                    <a:lstStyle/>
                    <a:p>
                      <a:pPr algn="ctr">
                        <a:defRPr sz="14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A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4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B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4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C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4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D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1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1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45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5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51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38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5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9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5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4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5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49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19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16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5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1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5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5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46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31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48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4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6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6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6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4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4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4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49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44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5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50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4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49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4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8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extBox 1"/>
          <p:cNvSpPr txBox="1"/>
          <p:nvPr/>
        </p:nvSpPr>
        <p:spPr>
          <a:xfrm>
            <a:off x="1396799" y="208799"/>
            <a:ext cx="10184399" cy="464400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2400" b="1" i="0">
                <a:solidFill>
                  <a:srgbClr val="EE4D2D"/>
                </a:solidFill>
                <a:latin typeface="Arial"/>
              </a:rPr>
              <a:t>Slide Number 3</a:t>
            </a:r>
            <a:endParaRPr sz="2400" b="1" i="0">
              <a:latin typeface="Arial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365760" y="996696"/>
          <a:ext cx="11430000" cy="5007255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484632"/>
                <a:gridCol w="6519672"/>
                <a:gridCol w="2212848"/>
                <a:gridCol w="2212848"/>
              </a:tblGrid>
              <a:tr h="347472">
                <a:tc>
                  <a:txBody>
                    <a:bodyPr/>
                    <a:lstStyle/>
                    <a:p>
                      <a:pPr algn="ctr">
                        <a:defRPr sz="14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A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4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B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4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C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4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D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9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4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8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4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59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9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4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35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55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6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5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9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48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1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41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1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5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49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5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3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8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9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1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9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6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8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8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5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4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59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4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8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50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9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5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5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6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9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extBox 1"/>
          <p:cNvSpPr txBox="1"/>
          <p:nvPr/>
        </p:nvSpPr>
        <p:spPr>
          <a:xfrm>
            <a:off x="1396799" y="208799"/>
            <a:ext cx="10184399" cy="464400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2400" b="1" i="0">
                <a:solidFill>
                  <a:srgbClr val="EE4D2D"/>
                </a:solidFill>
                <a:latin typeface="Arial"/>
              </a:rPr>
              <a:t>Slide Number 4</a:t>
            </a:r>
            <a:endParaRPr sz="2400" b="1" i="0">
              <a:latin typeface="Arial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365760" y="996696"/>
          <a:ext cx="11430000" cy="5007255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484632"/>
                <a:gridCol w="6519672"/>
                <a:gridCol w="2212848"/>
                <a:gridCol w="2212848"/>
              </a:tblGrid>
              <a:tr h="347472">
                <a:tc>
                  <a:txBody>
                    <a:bodyPr/>
                    <a:lstStyle/>
                    <a:p>
                      <a:pPr algn="ctr">
                        <a:defRPr sz="14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A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4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B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4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C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4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D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3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9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5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1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3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34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51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9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5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4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8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8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9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4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5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15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1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1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15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4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55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9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46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35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5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3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39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3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1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6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8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3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1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3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5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38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55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41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3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38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59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86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32850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3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74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61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31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000FF"/>
      </a:hlink>
      <a:folHlink>
        <a:srgbClr val="FF00F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 Them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000FF"/>
      </a:hlink>
      <a:folHlink>
        <a:srgbClr val="FF00F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17acb7c-4eeb-4096-8f1f-db2066474bff" xsi:nil="true"/>
    <lcf76f155ced4ddcb4097134ff3c332f xmlns="49e69a8e-3a37-4a7e-a847-325e712e4abd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A7C8C06661FCA40B4BE759A4A0A34B7" ma:contentTypeVersion="13" ma:contentTypeDescription="Create a new document." ma:contentTypeScope="" ma:versionID="89dd002dcd7e1c1f5f164fb8e420b8e9">
  <xsd:schema xmlns:xsd="http://www.w3.org/2001/XMLSchema" xmlns:xs="http://www.w3.org/2001/XMLSchema" xmlns:p="http://schemas.microsoft.com/office/2006/metadata/properties" xmlns:ns2="49e69a8e-3a37-4a7e-a847-325e712e4abd" xmlns:ns3="417acb7c-4eeb-4096-8f1f-db2066474bff" targetNamespace="http://schemas.microsoft.com/office/2006/metadata/properties" ma:root="true" ma:fieldsID="cda26ae25289facd3534b85d0196e0bf" ns2:_="" ns3:_="">
    <xsd:import namespace="49e69a8e-3a37-4a7e-a847-325e712e4abd"/>
    <xsd:import namespace="417acb7c-4eeb-4096-8f1f-db2066474bf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9e69a8e-3a37-4a7e-a847-325e712e4ab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6adfc057-e2c3-428b-8b81-a5b39ef70d6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17acb7c-4eeb-4096-8f1f-db2066474bff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f1ea21fa-b679-4879-8e3e-f9e35f127bce}" ma:internalName="TaxCatchAll" ma:showField="CatchAllData" ma:web="417acb7c-4eeb-4096-8f1f-db2066474bf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0DD9542-80DE-4BA2-BDD6-E0D59BFA6E9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4EEB491-5094-4427-8E17-37F6A6EE2EC0}">
  <ds:schemaRefs>
    <ds:schemaRef ds:uri="417acb7c-4eeb-4096-8f1f-db2066474bff"/>
    <ds:schemaRef ds:uri="49e69a8e-3a37-4a7e-a847-325e712e4abd"/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D262CB66-1EED-46C5-BB05-26F3CF5660FD}">
  <ds:schemaRefs>
    <ds:schemaRef ds:uri="417acb7c-4eeb-4096-8f1f-db2066474bff"/>
    <ds:schemaRef ds:uri="49e69a8e-3a37-4a7e-a847-325e712e4ab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920</TotalTime>
  <Words>0</Words>
  <Application>Microsoft Office PowerPoint</Application>
  <PresentationFormat>Widescreen</PresentationFormat>
  <Paragraphs>0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Calibri</vt:lpstr>
      <vt:lpstr>Open Sans</vt:lpstr>
      <vt:lpstr>Times New Roman</vt:lpstr>
      <vt:lpstr>Office Theme</vt:lpstr>
      <vt:lpstr>think-cell Slid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P&amp;A (PRM) team meeting</dc:title>
  <dc:creator>Andrew Tan Shou Ren</dc:creator>
  <cp:lastModifiedBy>Tan Chuye</cp:lastModifiedBy>
  <cp:revision>68</cp:revision>
  <dcterms:modified xsi:type="dcterms:W3CDTF">2023-01-12T08:32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A7C8C06661FCA40B4BE759A4A0A34B7</vt:lpwstr>
  </property>
  <property fmtid="{D5CDD505-2E9C-101B-9397-08002B2CF9AE}" pid="3" name="MediaServiceImageTags">
    <vt:lpwstr/>
  </property>
</Properties>
</file>